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7.871580660844138</c:v>
                </c:pt>
                <c:pt idx="1">
                  <c:v>28.335763435514163</c:v>
                </c:pt>
                <c:pt idx="2">
                  <c:v>30.105019597165455</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3.652226000000002</c:v>
                </c:pt>
                <c:pt idx="1">
                  <c:v>4.7329270000000001</c:v>
                </c:pt>
                <c:pt idx="2">
                  <c:v>5.0060139999999969</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523806660844141</c:v>
                </c:pt>
                <c:pt idx="1">
                  <c:v>33.068690435514164</c:v>
                </c:pt>
                <c:pt idx="2">
                  <c:v>35.111033597165452</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7.879175952999461</c:v>
                </c:pt>
                <c:pt idx="1">
                  <c:v>84.927891582082182</c:v>
                </c:pt>
                <c:pt idx="2">
                  <c:v>87.8352013631841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409677829050421</c:v>
                </c:pt>
                <c:pt idx="1">
                  <c:v>119.40827134031018</c:v>
                </c:pt>
                <c:pt idx="2">
                  <c:v>118.6743580044550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1.288853782049884</c:v>
                </c:pt>
                <c:pt idx="1">
                  <c:v>204.33616292239233</c:v>
                </c:pt>
                <c:pt idx="2">
                  <c:v>206.5095593676392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87.83520136318414</c:v>
                </c:pt>
                <c:pt idx="2">
                  <c:v>81.180280019523664</c:v>
                </c:pt>
                <c:pt idx="3">
                  <c:v>94.182127732244851</c:v>
                </c:pt>
                <c:pt idx="4">
                  <c:v>94.834609882328991</c:v>
                </c:pt>
                <c:pt idx="5">
                  <c:v>67.334009478429181</c:v>
                </c:pt>
                <c:pt idx="7">
                  <c:v>84.382756778131665</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118.67435800445509</c:v>
                </c:pt>
                <c:pt idx="2">
                  <c:v>60.848581769211343</c:v>
                </c:pt>
                <c:pt idx="3">
                  <c:v>102.34685444425705</c:v>
                </c:pt>
                <c:pt idx="4">
                  <c:v>97.33676582761251</c:v>
                </c:pt>
                <c:pt idx="5">
                  <c:v>34.057468871028192</c:v>
                </c:pt>
                <c:pt idx="7">
                  <c:v>73.647417728027278</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206.50955936763924</c:v>
                </c:pt>
                <c:pt idx="2">
                  <c:v>142.02886178873501</c:v>
                </c:pt>
                <c:pt idx="3">
                  <c:v>196.52898217650193</c:v>
                </c:pt>
                <c:pt idx="4">
                  <c:v>192.17137570994149</c:v>
                </c:pt>
                <c:pt idx="5">
                  <c:v>101.39147834945737</c:v>
                </c:pt>
                <c:pt idx="7">
                  <c:v>158.03017450615897</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201240151858003</c:v>
                </c:pt>
                <c:pt idx="2">
                  <c:v>2.0383539696465185</c:v>
                </c:pt>
                <c:pt idx="3">
                  <c:v>2.0420304762350301</c:v>
                </c:pt>
                <c:pt idx="4">
                  <c:v>2.1012293244124813</c:v>
                </c:pt>
                <c:pt idx="6">
                  <c:v>4.8263733140762968</c:v>
                </c:pt>
                <c:pt idx="7">
                  <c:v>4.8263733140762968</c:v>
                </c:pt>
                <c:pt idx="8">
                  <c:v>4.8345766322122348</c:v>
                </c:pt>
                <c:pt idx="9">
                  <c:v>4.913481946034239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8395840151858003</c:v>
                </c:pt>
                <c:pt idx="5">
                  <c:v>2.0206893244124813</c:v>
                </c:pt>
                <c:pt idx="10">
                  <c:v>2.08986294603424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1822995446071809</c:v>
                </c:pt>
                <c:pt idx="2">
                  <c:v>3.6765065885114396E-3</c:v>
                </c:pt>
                <c:pt idx="3">
                  <c:v>5.9198848177451462E-2</c:v>
                </c:pt>
                <c:pt idx="7">
                  <c:v>8.2033181359383971E-3</c:v>
                </c:pt>
                <c:pt idx="8">
                  <c:v>9.6367313822004502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3.5397010336183782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8.054E-2</c:v>
                </c:pt>
                <c:pt idx="5">
                  <c:v>2.841081</c:v>
                </c:pt>
                <c:pt idx="10">
                  <c:v>2.823618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2.7605409999999999</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1.7462000000000089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9201240151858003</c:v>
                </c:pt>
                <c:pt idx="5">
                  <c:v>4.8617703244124808</c:v>
                </c:pt>
                <c:pt idx="10">
                  <c:v>4.913481946034240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Re-integratie klassiek</c:v>
                </c:pt>
                <c:pt idx="4">
                  <c:v>Eenpersoonshuishoudens</c:v>
                </c:pt>
                <c:pt idx="5">
                  <c:v>Loonkostensubsidie</c:v>
                </c:pt>
                <c:pt idx="6">
                  <c:v>Klantenpotentieel regionaal</c:v>
                </c:pt>
                <c:pt idx="7">
                  <c:v>Omgevingsadressendichtheid</c:v>
                </c:pt>
                <c:pt idx="10">
                  <c:v>Overig</c:v>
                </c:pt>
              </c:strCache>
            </c:strRef>
          </c:cat>
          <c:val>
            <c:numRef>
              <c:f>Sheet1!$B$2:$B$12</c:f>
              <c:numCache>
                <c:formatCode>General</c:formatCode>
                <c:ptCount val="11"/>
                <c:pt idx="0">
                  <c:v>0.86635005600000015</c:v>
                </c:pt>
                <c:pt idx="1">
                  <c:v>0.44803458585600003</c:v>
                </c:pt>
                <c:pt idx="2">
                  <c:v>0.29379406056000001</c:v>
                </c:pt>
                <c:pt idx="3">
                  <c:v>0.15089000006080003</c:v>
                </c:pt>
                <c:pt idx="4">
                  <c:v>9.7191558360000013E-2</c:v>
                </c:pt>
                <c:pt idx="5">
                  <c:v>8.8205222560000004E-2</c:v>
                </c:pt>
                <c:pt idx="6">
                  <c:v>8.1248024000000002E-2</c:v>
                </c:pt>
                <c:pt idx="7">
                  <c:v>6.414943863744000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2.7383160000000002</c:v>
                </c:pt>
                <c:pt idx="1">
                  <c:v>6.3932000000000003E-2</c:v>
                </c:pt>
                <c:pt idx="2">
                  <c:v>2.1371000000000001E-2</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5113226936594002</c:v>
                </c:pt>
                <c:pt idx="1">
                  <c:v>0.53074764974417332</c:v>
                </c:pt>
                <c:pt idx="2">
                  <c:v>0.5807801136113598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2.7497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5113226936594002</c:v>
                </c:pt>
                <c:pt idx="1">
                  <c:v>0.53074764974417332</c:v>
                </c:pt>
                <c:pt idx="2">
                  <c:v>0.6082771136113598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646953713195895</c:v>
                </c:pt>
                <c:pt idx="1">
                  <c:v>22.306882265547568</c:v>
                </c:pt>
                <c:pt idx="2">
                  <c:v>24.40970510702138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55676039171184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646953713195895</c:v>
                </c:pt>
                <c:pt idx="1">
                  <c:v>22.306882265547568</c:v>
                </c:pt>
                <c:pt idx="2">
                  <c:v>25.56538114619257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24.409705107021388</c:v>
                </c:pt>
                <c:pt idx="2">
                  <c:v>23.92088127043403</c:v>
                </c:pt>
                <c:pt idx="3">
                  <c:v>22.340214019243831</c:v>
                </c:pt>
                <c:pt idx="4">
                  <c:v>22.484282584545582</c:v>
                </c:pt>
                <c:pt idx="5">
                  <c:v>22.120918126359886</c:v>
                </c:pt>
                <c:pt idx="7">
                  <c:v>22.71657400014583</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1.1556760391711849</c:v>
                </c:pt>
                <c:pt idx="2">
                  <c:v>1.1599612827203096</c:v>
                </c:pt>
                <c:pt idx="3">
                  <c:v>1.1631388092427053</c:v>
                </c:pt>
                <c:pt idx="4">
                  <c:v>1.1594202898550725</c:v>
                </c:pt>
                <c:pt idx="5">
                  <c:v>1.1469204181068589</c:v>
                </c:pt>
                <c:pt idx="7">
                  <c:v>1.1573601999812366</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25.565381146192571</c:v>
                </c:pt>
                <c:pt idx="2">
                  <c:v>25.080842553154341</c:v>
                </c:pt>
                <c:pt idx="3">
                  <c:v>23.503352828486538</c:v>
                </c:pt>
                <c:pt idx="4">
                  <c:v>23.643702874400653</c:v>
                </c:pt>
                <c:pt idx="5">
                  <c:v>23.267838544466745</c:v>
                </c:pt>
                <c:pt idx="7">
                  <c:v>23.873934200127067</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50180137756178145</c:v>
                </c:pt>
                <c:pt idx="2">
                  <c:v>0.50180137756178145</c:v>
                </c:pt>
                <c:pt idx="3">
                  <c:v>0.51529723070428146</c:v>
                </c:pt>
                <c:pt idx="4">
                  <c:v>0.53074764974417332</c:v>
                </c:pt>
                <c:pt idx="6">
                  <c:v>0.52979618110234084</c:v>
                </c:pt>
                <c:pt idx="7">
                  <c:v>0.52979618110234084</c:v>
                </c:pt>
                <c:pt idx="8">
                  <c:v>0.55430875040290373</c:v>
                </c:pt>
                <c:pt idx="9">
                  <c:v>0.5807801136113598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5113226936594002</c:v>
                </c:pt>
                <c:pt idx="5">
                  <c:v>0.53074764974417332</c:v>
                </c:pt>
                <c:pt idx="10">
                  <c:v>0.5807801136113598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3495853142500017E-2</c:v>
                </c:pt>
                <c:pt idx="3">
                  <c:v>1.5450419039891852E-2</c:v>
                </c:pt>
                <c:pt idx="7">
                  <c:v>2.4512569300562899E-2</c:v>
                </c:pt>
                <c:pt idx="8">
                  <c:v>2.6471363208456156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9.5213160976187448E-3</c:v>
                </c:pt>
                <c:pt idx="6">
                  <c:v>9.5146864183253332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2.7497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7497000000000001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5113226936594002</c:v>
                </c:pt>
                <c:pt idx="5">
                  <c:v>0.53074764974417332</c:v>
                </c:pt>
                <c:pt idx="10">
                  <c:v>0.6082771136113598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met laag inkomen (drempel)</c:v>
                </c:pt>
                <c:pt idx="3">
                  <c:v>Eenouderhuishoudens</c:v>
                </c:pt>
                <c:pt idx="4">
                  <c:v>Omgevingsadressendichtheid</c:v>
                </c:pt>
                <c:pt idx="5">
                  <c:v>Minderheden</c:v>
                </c:pt>
                <c:pt idx="6">
                  <c:v>Huishoudens</c:v>
                </c:pt>
                <c:pt idx="7">
                  <c:v>Bijstandsontvangers</c:v>
                </c:pt>
                <c:pt idx="8">
                  <c:v>Klantenpotentieel lokaal</c:v>
                </c:pt>
                <c:pt idx="9">
                  <c:v>Uitkeringsontvangers</c:v>
                </c:pt>
                <c:pt idx="10">
                  <c:v>Overig</c:v>
                </c:pt>
              </c:strCache>
            </c:strRef>
          </c:cat>
          <c:val>
            <c:numRef>
              <c:f>Sheet1!$B$2:$B$12</c:f>
              <c:numCache>
                <c:formatCode>General</c:formatCode>
                <c:ptCount val="11"/>
                <c:pt idx="0">
                  <c:v>0.13523798235999998</c:v>
                </c:pt>
                <c:pt idx="1">
                  <c:v>0.11391231852000001</c:v>
                </c:pt>
                <c:pt idx="2">
                  <c:v>7.2473308336000006E-2</c:v>
                </c:pt>
                <c:pt idx="3">
                  <c:v>4.7075622880000001E-2</c:v>
                </c:pt>
                <c:pt idx="4">
                  <c:v>4.5736173843360005E-2</c:v>
                </c:pt>
                <c:pt idx="5">
                  <c:v>3.76609948E-2</c:v>
                </c:pt>
                <c:pt idx="6">
                  <c:v>3.0336228000000003E-2</c:v>
                </c:pt>
                <c:pt idx="7">
                  <c:v>2.3663354000000004E-2</c:v>
                </c:pt>
                <c:pt idx="8">
                  <c:v>1.6861197600000002E-2</c:v>
                </c:pt>
                <c:pt idx="9">
                  <c:v>1.5277923439999999E-2</c:v>
                </c:pt>
                <c:pt idx="10">
                  <c:v>4.2545009831999714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56.59712378155621</c:v>
                </c:pt>
                <c:pt idx="1">
                  <c:v>1190.9285687182853</c:v>
                </c:pt>
                <c:pt idx="2">
                  <c:v>1265.2889336008682</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77.96985733034171</c:v>
                </c:pt>
                <c:pt idx="1">
                  <c:v>198.92098516370362</c:v>
                </c:pt>
                <c:pt idx="2">
                  <c:v>210.39860463161423</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34.5669811118978</c:v>
                </c:pt>
                <c:pt idx="1">
                  <c:v>1389.8495538819889</c:v>
                </c:pt>
                <c:pt idx="2">
                  <c:v>1475.6875382324824</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2.7497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82072910424820034</c:v>
                </c:pt>
                <c:pt idx="1">
                  <c:v>5.0199612210176898</c:v>
                </c:pt>
                <c:pt idx="2">
                  <c:v>5.142503864395116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1.325715</c:v>
                </c:pt>
                <c:pt idx="2">
                  <c:v>1.726591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82072910424820034</c:v>
                </c:pt>
                <c:pt idx="1">
                  <c:v>6.3456762210176896</c:v>
                </c:pt>
                <c:pt idx="2">
                  <c:v>6.86909586439511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52.41023291517183</c:v>
                </c:pt>
                <c:pt idx="1">
                  <c:v>1036.9678209084259</c:v>
                </c:pt>
                <c:pt idx="2">
                  <c:v>1062.281318817417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73.85147696756866</c:v>
                </c:pt>
                <c:pt idx="2">
                  <c:v>356.6601941747572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52.41023291517183</c:v>
                </c:pt>
                <c:pt idx="1">
                  <c:v>1310.8192978759946</c:v>
                </c:pt>
                <c:pt idx="2">
                  <c:v>1418.941512992174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1062.2813188174171</c:v>
                </c:pt>
                <c:pt idx="2">
                  <c:v>1060.0649377857646</c:v>
                </c:pt>
                <c:pt idx="3">
                  <c:v>1244.7269574958427</c:v>
                </c:pt>
                <c:pt idx="4">
                  <c:v>1075.0763497091655</c:v>
                </c:pt>
                <c:pt idx="5">
                  <c:v>763.00697833495769</c:v>
                </c:pt>
                <c:pt idx="7">
                  <c:v>1035.7188058314327</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356.66019417475729</c:v>
                </c:pt>
                <c:pt idx="2">
                  <c:v>236.02269445017538</c:v>
                </c:pt>
                <c:pt idx="3">
                  <c:v>336.99439147504205</c:v>
                </c:pt>
                <c:pt idx="4">
                  <c:v>143.49131845067734</c:v>
                </c:pt>
                <c:pt idx="5">
                  <c:v>43.836509311390209</c:v>
                </c:pt>
                <c:pt idx="7">
                  <c:v>190.08622842182123</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1418.9415129921747</c:v>
                </c:pt>
                <c:pt idx="2">
                  <c:v>1296.08763223594</c:v>
                </c:pt>
                <c:pt idx="3">
                  <c:v>1581.7213489708847</c:v>
                </c:pt>
                <c:pt idx="4">
                  <c:v>1218.5676681598429</c:v>
                </c:pt>
                <c:pt idx="5">
                  <c:v>806.84348764634797</c:v>
                </c:pt>
                <c:pt idx="7">
                  <c:v>1225.805034253254</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77362743881895157</c:v>
                </c:pt>
                <c:pt idx="2">
                  <c:v>0.77362743881895157</c:v>
                </c:pt>
                <c:pt idx="3">
                  <c:v>4.9946985619881827</c:v>
                </c:pt>
                <c:pt idx="4">
                  <c:v>5.0199612210176889</c:v>
                </c:pt>
                <c:pt idx="6">
                  <c:v>6.3389779759071123</c:v>
                </c:pt>
                <c:pt idx="7">
                  <c:v>6.233822620477337</c:v>
                </c:pt>
                <c:pt idx="8">
                  <c:v>6.233822620477337</c:v>
                </c:pt>
                <c:pt idx="9">
                  <c:v>6.468218864395114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82072910424820034</c:v>
                </c:pt>
                <c:pt idx="5">
                  <c:v>5.0199612210176889</c:v>
                </c:pt>
                <c:pt idx="10">
                  <c:v>5.14250386439511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2210711231692315</c:v>
                </c:pt>
                <c:pt idx="3">
                  <c:v>2.5262659029506238E-2</c:v>
                </c:pt>
                <c:pt idx="8">
                  <c:v>0.23439624391777811</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7101665429248804E-2</c:v>
                </c:pt>
                <c:pt idx="6">
                  <c:v>6.6982451105761284E-3</c:v>
                </c:pt>
                <c:pt idx="7">
                  <c:v>0.10515535542977496</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1.325715</c:v>
                </c:pt>
                <c:pt idx="10">
                  <c:v>1.7265919999999999</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325715</c:v>
                </c:pt>
                <c:pt idx="9">
                  <c:v>0.4008769999999999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82072910424820034</c:v>
                </c:pt>
                <c:pt idx="5">
                  <c:v>6.3456762210176887</c:v>
                </c:pt>
                <c:pt idx="10">
                  <c:v>6.869095864395116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oudens)</c:v>
                </c:pt>
                <c:pt idx="2">
                  <c:v>Gem. gestand. inkomen (huish. kinderen)</c:v>
                </c:pt>
                <c:pt idx="3">
                  <c:v>Uitkeringsont. min. bijstandsont.</c:v>
                </c:pt>
                <c:pt idx="4">
                  <c:v>Ouders lang psychisch medicijngebruik</c:v>
                </c:pt>
                <c:pt idx="5">
                  <c:v>Eenouderhuishoudens</c:v>
                </c:pt>
                <c:pt idx="6">
                  <c:v>Eenouderhuishoudens 2 of meer kinderen</c:v>
                </c:pt>
                <c:pt idx="7">
                  <c:v>Bijstandsont. eenouderhuishoudens</c:v>
                </c:pt>
                <c:pt idx="8">
                  <c:v>BO leerlingen, leerlingengewicht 1,2</c:v>
                </c:pt>
                <c:pt idx="9">
                  <c:v>Jeugdigen in gezinnen armoederisico</c:v>
                </c:pt>
                <c:pt idx="10">
                  <c:v>Overig</c:v>
                </c:pt>
              </c:strCache>
            </c:strRef>
          </c:cat>
          <c:val>
            <c:numRef>
              <c:f>Sheet1!$B$2:$B$12</c:f>
              <c:numCache>
                <c:formatCode>General</c:formatCode>
                <c:ptCount val="11"/>
                <c:pt idx="0">
                  <c:v>3.9801170307599998</c:v>
                </c:pt>
                <c:pt idx="1">
                  <c:v>-1.4679299760319999</c:v>
                </c:pt>
                <c:pt idx="2">
                  <c:v>-1.43520959036</c:v>
                </c:pt>
                <c:pt idx="3">
                  <c:v>1.3696024960800002</c:v>
                </c:pt>
                <c:pt idx="4">
                  <c:v>1.0315864611437573</c:v>
                </c:pt>
                <c:pt idx="5">
                  <c:v>0.7471083848800002</c:v>
                </c:pt>
                <c:pt idx="6">
                  <c:v>0.47406392383999996</c:v>
                </c:pt>
                <c:pt idx="7">
                  <c:v>0.20568717</c:v>
                </c:pt>
                <c:pt idx="8">
                  <c:v>-0.18918801148000003</c:v>
                </c:pt>
                <c:pt idx="9">
                  <c:v>0.16615901939312003</c:v>
                </c:pt>
                <c:pt idx="10">
                  <c:v>0.26050695617023845</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1.753817</c:v>
                </c:pt>
                <c:pt idx="1">
                  <c:v>0</c:v>
                </c:pt>
                <c:pt idx="6">
                  <c:v>-2.7224999999999999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8400160448171001</c:v>
                </c:pt>
                <c:pt idx="1">
                  <c:v>8.2457404898816247</c:v>
                </c:pt>
                <c:pt idx="2">
                  <c:v>8.787342133822649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835547</c:v>
                </c:pt>
                <c:pt idx="1">
                  <c:v>-1.023E-3</c:v>
                </c:pt>
                <c:pt idx="2">
                  <c:v>2.6069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6755630448170997</c:v>
                </c:pt>
                <c:pt idx="1">
                  <c:v>8.2447174898816247</c:v>
                </c:pt>
                <c:pt idx="2">
                  <c:v>8.81341213382265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0.23267621256933</c:v>
                </c:pt>
                <c:pt idx="1">
                  <c:v>346.56161433537699</c:v>
                </c:pt>
                <c:pt idx="2">
                  <c:v>369.3246809491299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77.708268066550957</c:v>
                </c:pt>
                <c:pt idx="1">
                  <c:v>-4.2995839112343968E-2</c:v>
                </c:pt>
                <c:pt idx="2">
                  <c:v>1.0957004160887656</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7.94094427912026</c:v>
                </c:pt>
                <c:pt idx="1">
                  <c:v>346.51861849626465</c:v>
                </c:pt>
                <c:pt idx="2">
                  <c:v>370.4203813652187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369.32468094912997</c:v>
                </c:pt>
                <c:pt idx="2">
                  <c:v>321.34965601149514</c:v>
                </c:pt>
                <c:pt idx="3">
                  <c:v>449.17841189776414</c:v>
                </c:pt>
                <c:pt idx="4">
                  <c:v>339.44997400978718</c:v>
                </c:pt>
                <c:pt idx="5">
                  <c:v>325.54182773046921</c:v>
                </c:pt>
                <c:pt idx="7">
                  <c:v>358.87996741237896</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1.0957004160887656</c:v>
                </c:pt>
                <c:pt idx="2">
                  <c:v>0.6981735544146116</c:v>
                </c:pt>
                <c:pt idx="3">
                  <c:v>0.89939281497723056</c:v>
                </c:pt>
                <c:pt idx="4">
                  <c:v>1.1047546402237478</c:v>
                </c:pt>
                <c:pt idx="5">
                  <c:v>0.88826885437054925</c:v>
                </c:pt>
                <c:pt idx="7">
                  <c:v>0.89764746599653478</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370.42038136521876</c:v>
                </c:pt>
                <c:pt idx="2">
                  <c:v>322.04782956590975</c:v>
                </c:pt>
                <c:pt idx="3">
                  <c:v>450.0778047127414</c:v>
                </c:pt>
                <c:pt idx="4">
                  <c:v>340.55472865001099</c:v>
                </c:pt>
                <c:pt idx="5">
                  <c:v>326.43009658483976</c:v>
                </c:pt>
                <c:pt idx="7">
                  <c:v>359.77761487837546</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0.78187065622089091</c:v>
                </c:pt>
                <c:pt idx="1">
                  <c:v>0.77725221153385615</c:v>
                </c:pt>
                <c:pt idx="2">
                  <c:v>0.79075284849189353</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0.78187065622089091</c:v>
                </c:pt>
                <c:pt idx="1">
                  <c:v>0.77725221153385615</c:v>
                </c:pt>
                <c:pt idx="2">
                  <c:v>0.79075284849189353</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6755630448170997</c:v>
                </c:pt>
                <c:pt idx="2">
                  <c:v>4.8410042679697654</c:v>
                </c:pt>
                <c:pt idx="3">
                  <c:v>9.6031019593448228</c:v>
                </c:pt>
                <c:pt idx="4">
                  <c:v>8.2447174898816247</c:v>
                </c:pt>
                <c:pt idx="6">
                  <c:v>8.2447174898816247</c:v>
                </c:pt>
                <c:pt idx="7">
                  <c:v>8.3656914574741776</c:v>
                </c:pt>
                <c:pt idx="8">
                  <c:v>8.3789136337922958</c:v>
                </c:pt>
                <c:pt idx="9">
                  <c:v>8.786319133822649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8400160448171001</c:v>
                </c:pt>
                <c:pt idx="5">
                  <c:v>8.2457404898816247</c:v>
                </c:pt>
                <c:pt idx="10">
                  <c:v>8.787342133822649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0.1654412231526656</c:v>
                </c:pt>
                <c:pt idx="2">
                  <c:v>4.7620976913750583</c:v>
                </c:pt>
                <c:pt idx="3">
                  <c:v>0.47818553053680135</c:v>
                </c:pt>
                <c:pt idx="6">
                  <c:v>0.12097396759255272</c:v>
                </c:pt>
                <c:pt idx="7">
                  <c:v>1.3222176318118676E-2</c:v>
                </c:pt>
                <c:pt idx="8">
                  <c:v>0.40740550003035358</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835547</c:v>
                </c:pt>
                <c:pt idx="5">
                  <c:v>-1.0229999999999961E-3</c:v>
                </c:pt>
                <c:pt idx="10">
                  <c:v>2.6070000000000003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2.7092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1.83657</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6755630448170997</c:v>
                </c:pt>
                <c:pt idx="5">
                  <c:v>8.2447174898816247</c:v>
                </c:pt>
                <c:pt idx="10">
                  <c:v>8.813412133822650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Gem. gestandaardiseerd inkomen 75 t/m 84</c:v>
                </c:pt>
                <c:pt idx="5">
                  <c:v>Wajong</c:v>
                </c:pt>
                <c:pt idx="6">
                  <c:v>Uitkeringsont. min bijstandsont.</c:v>
                </c:pt>
                <c:pt idx="7">
                  <c:v>Huishoudens</c:v>
                </c:pt>
                <c:pt idx="8">
                  <c:v>Klantenpotentieel lokaal</c:v>
                </c:pt>
                <c:pt idx="9">
                  <c:v>Gem. gestandaardiseerd inkomen 85+</c:v>
                </c:pt>
                <c:pt idx="10">
                  <c:v>Overig</c:v>
                </c:pt>
              </c:strCache>
            </c:strRef>
          </c:cat>
          <c:val>
            <c:numRef>
              <c:f>Sheet1!$B$2:$B$12</c:f>
              <c:numCache>
                <c:formatCode>General</c:formatCode>
                <c:ptCount val="11"/>
                <c:pt idx="0">
                  <c:v>2.7691194844880314</c:v>
                </c:pt>
                <c:pt idx="1">
                  <c:v>1.3021290282000002</c:v>
                </c:pt>
                <c:pt idx="2">
                  <c:v>0.87095030422399999</c:v>
                </c:pt>
                <c:pt idx="3">
                  <c:v>0.85598945796000003</c:v>
                </c:pt>
                <c:pt idx="4">
                  <c:v>0.32210203853255998</c:v>
                </c:pt>
                <c:pt idx="5">
                  <c:v>0.31808983440000005</c:v>
                </c:pt>
                <c:pt idx="6">
                  <c:v>0.30729423816000001</c:v>
                </c:pt>
                <c:pt idx="7">
                  <c:v>0.29577822300000001</c:v>
                </c:pt>
                <c:pt idx="8">
                  <c:v>0.26946691719999999</c:v>
                </c:pt>
                <c:pt idx="9">
                  <c:v>0.17953292953284</c:v>
                </c:pt>
                <c:pt idx="10">
                  <c:v>1.2968896781252175</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WMO</c:v>
                </c:pt>
                <c:pt idx="1">
                  <c:v>Programma Sociaal domein</c:v>
                </c:pt>
              </c:strCache>
            </c:strRef>
          </c:cat>
          <c:val>
            <c:numRef>
              <c:f>Sheet1!$B$2:$B$12</c:f>
              <c:numCache>
                <c:formatCode>General</c:formatCode>
                <c:ptCount val="11"/>
                <c:pt idx="0">
                  <c:v>2.6069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8596101369878002</c:v>
                </c:pt>
                <c:pt idx="1">
                  <c:v>2.98202507458852</c:v>
                </c:pt>
                <c:pt idx="2">
                  <c:v>3.12758216372576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3.4673000000000002E-2</c:v>
                </c:pt>
                <c:pt idx="1">
                  <c:v>3.4673000000000002E-2</c:v>
                </c:pt>
                <c:pt idx="2">
                  <c:v>3.4673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8942831369878004</c:v>
                </c:pt>
                <c:pt idx="1">
                  <c:v>3.0166980745885201</c:v>
                </c:pt>
                <c:pt idx="2">
                  <c:v>3.1622551637257605</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31.03252311751169</c:v>
                </c:pt>
                <c:pt idx="1">
                  <c:v>615.99361177205537</c:v>
                </c:pt>
                <c:pt idx="2">
                  <c:v>646.06117821230328</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4388115134633237</c:v>
                </c:pt>
                <c:pt idx="1">
                  <c:v>7.1623631481098951</c:v>
                </c:pt>
                <c:pt idx="2">
                  <c:v>7.162363148109895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37.47133463097498</c:v>
                </c:pt>
                <c:pt idx="1">
                  <c:v>623.15597492016525</c:v>
                </c:pt>
                <c:pt idx="2">
                  <c:v>653.2235413604132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646.06117821230328</c:v>
                </c:pt>
                <c:pt idx="2">
                  <c:v>451.63699479899321</c:v>
                </c:pt>
                <c:pt idx="3">
                  <c:v>444.52792145348292</c:v>
                </c:pt>
                <c:pt idx="4">
                  <c:v>394.74895346167528</c:v>
                </c:pt>
                <c:pt idx="5">
                  <c:v>386.26933130395838</c:v>
                </c:pt>
                <c:pt idx="7">
                  <c:v>419.29580025452742</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7.1623631481098951</c:v>
                </c:pt>
                <c:pt idx="2">
                  <c:v>7.3078192696513309</c:v>
                </c:pt>
                <c:pt idx="3">
                  <c:v>9.9817722938867082</c:v>
                </c:pt>
                <c:pt idx="4">
                  <c:v>8.1011257393627165</c:v>
                </c:pt>
                <c:pt idx="5">
                  <c:v>9.4664356864443491</c:v>
                </c:pt>
                <c:pt idx="7">
                  <c:v>8.7142882473362757</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653.22354136041326</c:v>
                </c:pt>
                <c:pt idx="2">
                  <c:v>458.94481406864458</c:v>
                </c:pt>
                <c:pt idx="3">
                  <c:v>454.50969374736962</c:v>
                </c:pt>
                <c:pt idx="4">
                  <c:v>402.850079201038</c:v>
                </c:pt>
                <c:pt idx="5">
                  <c:v>395.73576699040274</c:v>
                </c:pt>
                <c:pt idx="7">
                  <c:v>428.01008850186372</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7917189898105601</c:v>
                </c:pt>
                <c:pt idx="2">
                  <c:v>2.7917189898105601</c:v>
                </c:pt>
                <c:pt idx="3">
                  <c:v>2.9366390216122422</c:v>
                </c:pt>
                <c:pt idx="4">
                  <c:v>3.0166980745885201</c:v>
                </c:pt>
                <c:pt idx="6">
                  <c:v>3.0166980745885201</c:v>
                </c:pt>
                <c:pt idx="7">
                  <c:v>3.0167411058605094</c:v>
                </c:pt>
                <c:pt idx="8">
                  <c:v>3.0167411058605094</c:v>
                </c:pt>
                <c:pt idx="9">
                  <c:v>3.1622551637257605</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8596101369878002</c:v>
                </c:pt>
                <c:pt idx="5">
                  <c:v>2.98202507458852</c:v>
                </c:pt>
                <c:pt idx="10">
                  <c:v>3.127582163725760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449200318016822</c:v>
                </c:pt>
                <c:pt idx="3">
                  <c:v>8.0059052976277925E-2</c:v>
                </c:pt>
                <c:pt idx="6">
                  <c:v>4.3031271989151859E-5</c:v>
                </c:pt>
                <c:pt idx="8">
                  <c:v>0.1455140578652512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0.10256414717724038</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3.4673000000000002E-2</c:v>
                </c:pt>
                <c:pt idx="5">
                  <c:v>3.4673000000000002E-2</c:v>
                </c:pt>
                <c:pt idx="10">
                  <c:v>3.4673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8942831369878004</c:v>
                </c:pt>
                <c:pt idx="5">
                  <c:v>3.0166980745885201</c:v>
                </c:pt>
                <c:pt idx="10">
                  <c:v>3.1622551637257605</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Leerlingen VO</c:v>
                </c:pt>
                <c:pt idx="2">
                  <c:v>Leerlingen (V)SO</c:v>
                </c:pt>
                <c:pt idx="3">
                  <c:v>Huishoudens laag inkomen (drempel)</c:v>
                </c:pt>
                <c:pt idx="4">
                  <c:v>Land</c:v>
                </c:pt>
                <c:pt idx="5">
                  <c:v>Omgevingsadressendichtheid</c:v>
                </c:pt>
                <c:pt idx="6">
                  <c:v>Minderheden</c:v>
                </c:pt>
                <c:pt idx="7">
                  <c:v>Inwoners</c:v>
                </c:pt>
                <c:pt idx="8">
                  <c:v>Kernen</c:v>
                </c:pt>
                <c:pt idx="9">
                  <c:v>Klantenpotentieel regionaal</c:v>
                </c:pt>
                <c:pt idx="10">
                  <c:v>Overig</c:v>
                </c:pt>
              </c:strCache>
            </c:strRef>
          </c:cat>
          <c:val>
            <c:numRef>
              <c:f>Sheet1!$B$2:$B$12</c:f>
              <c:numCache>
                <c:formatCode>General</c:formatCode>
                <c:ptCount val="11"/>
                <c:pt idx="0">
                  <c:v>1.4249541592000001</c:v>
                </c:pt>
                <c:pt idx="1">
                  <c:v>0.69924907852800011</c:v>
                </c:pt>
                <c:pt idx="2">
                  <c:v>0.67062081417760011</c:v>
                </c:pt>
                <c:pt idx="3">
                  <c:v>0.10191711701600001</c:v>
                </c:pt>
                <c:pt idx="4">
                  <c:v>5.9500902759999995E-2</c:v>
                </c:pt>
                <c:pt idx="5">
                  <c:v>5.6625739044160003E-2</c:v>
                </c:pt>
                <c:pt idx="6">
                  <c:v>5.2219934000000003E-2</c:v>
                </c:pt>
                <c:pt idx="7">
                  <c:v>3.9888488640000004E-2</c:v>
                </c:pt>
                <c:pt idx="8">
                  <c:v>2.1385710839999999E-2</c:v>
                </c:pt>
                <c:pt idx="9">
                  <c:v>6.5447200000000013E-4</c:v>
                </c:pt>
                <c:pt idx="10">
                  <c:v>5.6574752000004835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3.4673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3177444900479995</c:v>
                </c:pt>
                <c:pt idx="1">
                  <c:v>0.18160165288098665</c:v>
                </c:pt>
                <c:pt idx="2">
                  <c:v>0.1902201352313599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3177444900479995</c:v>
                </c:pt>
                <c:pt idx="1">
                  <c:v>0.18160165288098665</c:v>
                </c:pt>
                <c:pt idx="2">
                  <c:v>0.190220135231359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2854224626000001</c:v>
                </c:pt>
                <c:pt idx="1">
                  <c:v>-3.3476534556799997</c:v>
                </c:pt>
                <c:pt idx="2">
                  <c:v>-3.155249344560000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2854224626000001</c:v>
                </c:pt>
                <c:pt idx="1">
                  <c:v>-3.3476534556799997</c:v>
                </c:pt>
                <c:pt idx="2">
                  <c:v>-3.15524934456000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5786989968587246</c:v>
                </c:pt>
                <c:pt idx="1">
                  <c:v>7.6325664220983755</c:v>
                </c:pt>
                <c:pt idx="2">
                  <c:v>7.994794066799477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5786989968587246</c:v>
                </c:pt>
                <c:pt idx="1">
                  <c:v>7.6325664220983755</c:v>
                </c:pt>
                <c:pt idx="2">
                  <c:v>7.994794066799477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7.9947940667994777</c:v>
                </c:pt>
                <c:pt idx="2">
                  <c:v>7.8792840424790294</c:v>
                </c:pt>
                <c:pt idx="3">
                  <c:v>6.978631567720246</c:v>
                </c:pt>
                <c:pt idx="4">
                  <c:v>7.7067628630720098</c:v>
                </c:pt>
                <c:pt idx="5">
                  <c:v>7.3381600167109502</c:v>
                </c:pt>
                <c:pt idx="7">
                  <c:v>7.4757096224955593</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7.9947940667994777</c:v>
                </c:pt>
                <c:pt idx="2">
                  <c:v>7.8792840424790294</c:v>
                </c:pt>
                <c:pt idx="3">
                  <c:v>6.978631567720246</c:v>
                </c:pt>
                <c:pt idx="4">
                  <c:v>7.7067628630720098</c:v>
                </c:pt>
                <c:pt idx="5">
                  <c:v>7.3381600167109502</c:v>
                </c:pt>
                <c:pt idx="7">
                  <c:v>7.4757096224955593</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2935163870251448</c:v>
                </c:pt>
                <c:pt idx="2">
                  <c:v>0.12935163870251448</c:v>
                </c:pt>
                <c:pt idx="3">
                  <c:v>0.17774473102171992</c:v>
                </c:pt>
                <c:pt idx="4">
                  <c:v>0.18160165288098662</c:v>
                </c:pt>
                <c:pt idx="6">
                  <c:v>0.18137024641800903</c:v>
                </c:pt>
                <c:pt idx="7">
                  <c:v>0.18137024641800903</c:v>
                </c:pt>
                <c:pt idx="8">
                  <c:v>0.18137024641800903</c:v>
                </c:pt>
                <c:pt idx="9">
                  <c:v>0.1902201352313599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3177444900479995</c:v>
                </c:pt>
                <c:pt idx="5">
                  <c:v>0.18160165288098665</c:v>
                </c:pt>
                <c:pt idx="10">
                  <c:v>0.1902201352313599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8393092319205445E-2</c:v>
                </c:pt>
                <c:pt idx="3">
                  <c:v>3.8569218592667126E-3</c:v>
                </c:pt>
                <c:pt idx="8">
                  <c:v>8.8498888133509545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2.4228103022854628E-3</c:v>
                </c:pt>
                <c:pt idx="6">
                  <c:v>2.3140646297762957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3177444900479995</c:v>
                </c:pt>
                <c:pt idx="5">
                  <c:v>0.18160165288098665</c:v>
                </c:pt>
                <c:pt idx="10">
                  <c:v>0.190220135231359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Eenouderhuishoudens</c:v>
                </c:pt>
                <c:pt idx="4">
                  <c:v>Omgevingsadressendichtheid</c:v>
                </c:pt>
                <c:pt idx="5">
                  <c:v>Minderheden</c:v>
                </c:pt>
                <c:pt idx="6">
                  <c:v>Huishoudens</c:v>
                </c:pt>
                <c:pt idx="7">
                  <c:v>Bijstandsontvangers</c:v>
                </c:pt>
                <c:pt idx="8">
                  <c:v>Klantenpotentieel lokaal</c:v>
                </c:pt>
                <c:pt idx="9">
                  <c:v>Ouderen</c:v>
                </c:pt>
                <c:pt idx="10">
                  <c:v>Overig</c:v>
                </c:pt>
              </c:strCache>
            </c:strRef>
          </c:cat>
          <c:val>
            <c:numRef>
              <c:f>Sheet1!$B$2:$B$12</c:f>
              <c:numCache>
                <c:formatCode>General</c:formatCode>
                <c:ptCount val="11"/>
                <c:pt idx="0">
                  <c:v>7.9987843000000003E-2</c:v>
                </c:pt>
                <c:pt idx="1">
                  <c:v>2.9532823320000002E-2</c:v>
                </c:pt>
                <c:pt idx="2">
                  <c:v>1.7641850512000002E-2</c:v>
                </c:pt>
                <c:pt idx="3">
                  <c:v>1.1466575120000001E-2</c:v>
                </c:pt>
                <c:pt idx="4">
                  <c:v>1.1087557295360002E-2</c:v>
                </c:pt>
                <c:pt idx="5">
                  <c:v>9.1587392000000017E-3</c:v>
                </c:pt>
                <c:pt idx="6">
                  <c:v>7.4155224E-3</c:v>
                </c:pt>
                <c:pt idx="7">
                  <c:v>5.6343430000000009E-3</c:v>
                </c:pt>
                <c:pt idx="8">
                  <c:v>4.0591771999999998E-3</c:v>
                </c:pt>
                <c:pt idx="9">
                  <c:v>3.8279841599999998E-3</c:v>
                </c:pt>
                <c:pt idx="10">
                  <c:v>1.040772002399997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9644683747000005</c:v>
                </c:pt>
                <c:pt idx="1">
                  <c:v>4.1225811775599999</c:v>
                </c:pt>
                <c:pt idx="2">
                  <c:v>4.324438054559999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6.2631000000000006E-2</c:v>
                </c:pt>
                <c:pt idx="1">
                  <c:v>0.100996</c:v>
                </c:pt>
                <c:pt idx="2">
                  <c:v>0.10334400000000001</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0270993747000006</c:v>
                </c:pt>
                <c:pt idx="1">
                  <c:v>4.2235771775600002</c:v>
                </c:pt>
                <c:pt idx="2">
                  <c:v>4.427782054559999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181.75253455049804</c:v>
                </c:pt>
                <c:pt idx="2">
                  <c:v>192.23495300227256</c:v>
                </c:pt>
                <c:pt idx="3">
                  <c:v>189.59328989205599</c:v>
                </c:pt>
                <c:pt idx="4">
                  <c:v>181.82312725993734</c:v>
                </c:pt>
                <c:pt idx="5">
                  <c:v>166.10612700120771</c:v>
                </c:pt>
                <c:pt idx="7">
                  <c:v>182.43937428886841</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4.3434623628798388</c:v>
                </c:pt>
                <c:pt idx="2">
                  <c:v>4.3871307129029544</c:v>
                </c:pt>
                <c:pt idx="3">
                  <c:v>4.1810170349131388</c:v>
                </c:pt>
                <c:pt idx="4">
                  <c:v>4.5700906856513264</c:v>
                </c:pt>
                <c:pt idx="5">
                  <c:v>3.4747844917336441</c:v>
                </c:pt>
                <c:pt idx="7">
                  <c:v>4.1532557313002663</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186.09599691337789</c:v>
                </c:pt>
                <c:pt idx="2">
                  <c:v>196.62208371517551</c:v>
                </c:pt>
                <c:pt idx="3">
                  <c:v>193.77430692696913</c:v>
                </c:pt>
                <c:pt idx="4">
                  <c:v>186.39321794558867</c:v>
                </c:pt>
                <c:pt idx="5">
                  <c:v>169.58091149294134</c:v>
                </c:pt>
                <c:pt idx="7">
                  <c:v>186.59263002016866</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0270993747000006</c:v>
                </c:pt>
                <c:pt idx="2">
                  <c:v>4.0593537842030383</c:v>
                </c:pt>
                <c:pt idx="3">
                  <c:v>4.0593537842030383</c:v>
                </c:pt>
                <c:pt idx="4">
                  <c:v>4.1852121775600004</c:v>
                </c:pt>
                <c:pt idx="6">
                  <c:v>4.2235771775600002</c:v>
                </c:pt>
                <c:pt idx="7">
                  <c:v>4.224235118188064</c:v>
                </c:pt>
                <c:pt idx="8">
                  <c:v>4.224235118188064</c:v>
                </c:pt>
                <c:pt idx="9">
                  <c:v>4.42543405456000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9644683747000005</c:v>
                </c:pt>
                <c:pt idx="5">
                  <c:v>4.1225811775599999</c:v>
                </c:pt>
                <c:pt idx="10">
                  <c:v>4.3244380545599999</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2254409503037304E-2</c:v>
                </c:pt>
                <c:pt idx="3">
                  <c:v>0.12585839335696208</c:v>
                </c:pt>
                <c:pt idx="6">
                  <c:v>6.5794062806357769E-4</c:v>
                </c:pt>
                <c:pt idx="8">
                  <c:v>0.20119893637193639</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6.2631000000000006E-2</c:v>
                </c:pt>
                <c:pt idx="5">
                  <c:v>0.100996</c:v>
                </c:pt>
                <c:pt idx="10">
                  <c:v>0.10334400000000001</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3.8364999999999996E-2</c:v>
                </c:pt>
                <c:pt idx="9">
                  <c:v>2.3480000000000029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0270993747000006</c:v>
                </c:pt>
                <c:pt idx="5">
                  <c:v>4.2235771775600002</c:v>
                </c:pt>
                <c:pt idx="10">
                  <c:v>4.427782054559999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1.9871371119600003</c:v>
                </c:pt>
                <c:pt idx="1">
                  <c:v>1.1933935026000002</c:v>
                </c:pt>
                <c:pt idx="2">
                  <c:v>1.06163096</c:v>
                </c:pt>
                <c:pt idx="3">
                  <c:v>8.2276480000000013E-2</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39.0890505313069</c:v>
                </c:pt>
                <c:pt idx="1">
                  <c:v>-140.69909030723321</c:v>
                </c:pt>
                <c:pt idx="2">
                  <c:v>-132.6125055503719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39.0890505313069</c:v>
                </c:pt>
                <c:pt idx="1">
                  <c:v>-140.69909030723321</c:v>
                </c:pt>
                <c:pt idx="2">
                  <c:v>-132.6125055503719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0.10334400000000001</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8286076847520016</c:v>
                </c:pt>
                <c:pt idx="1">
                  <c:v>5.0669302959546734</c:v>
                </c:pt>
                <c:pt idx="2">
                  <c:v>5.323770081576013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8370999999999999E-2</c:v>
                </c:pt>
                <c:pt idx="1">
                  <c:v>5.8370999999999999E-2</c:v>
                </c:pt>
                <c:pt idx="2">
                  <c:v>5.8370999999999999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8869786847520018</c:v>
                </c:pt>
                <c:pt idx="1">
                  <c:v>5.1253012959546735</c:v>
                </c:pt>
                <c:pt idx="2">
                  <c:v>5.382141081576013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4.42012127987815</c:v>
                </c:pt>
                <c:pt idx="1">
                  <c:v>212.95886588301912</c:v>
                </c:pt>
                <c:pt idx="2">
                  <c:v>223.7536284443329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4711485542525717</c:v>
                </c:pt>
                <c:pt idx="1">
                  <c:v>2.4532845794981717</c:v>
                </c:pt>
                <c:pt idx="2">
                  <c:v>2.4532845794981717</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06.8912698341307</c:v>
                </c:pt>
                <c:pt idx="1">
                  <c:v>215.41215046251727</c:v>
                </c:pt>
                <c:pt idx="2">
                  <c:v>226.2069130238310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223.75362844433292</c:v>
                </c:pt>
                <c:pt idx="2">
                  <c:v>223.3821707792076</c:v>
                </c:pt>
                <c:pt idx="3">
                  <c:v>245.4337499798643</c:v>
                </c:pt>
                <c:pt idx="4">
                  <c:v>237.84604412248515</c:v>
                </c:pt>
                <c:pt idx="5">
                  <c:v>250.34882837761634</c:v>
                </c:pt>
                <c:pt idx="7">
                  <c:v>239.25269831479335</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2.4532845794981717</c:v>
                </c:pt>
                <c:pt idx="2">
                  <c:v>1.8014476895884184</c:v>
                </c:pt>
                <c:pt idx="3">
                  <c:v>22.069320290099512</c:v>
                </c:pt>
                <c:pt idx="4">
                  <c:v>5.7606576828544789</c:v>
                </c:pt>
                <c:pt idx="5">
                  <c:v>2.4510889934618749</c:v>
                </c:pt>
                <c:pt idx="7">
                  <c:v>8.0206286640010713</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226.20691302383108</c:v>
                </c:pt>
                <c:pt idx="2">
                  <c:v>225.18361846879597</c:v>
                </c:pt>
                <c:pt idx="3">
                  <c:v>267.50307026996381</c:v>
                </c:pt>
                <c:pt idx="4">
                  <c:v>243.60670180533961</c:v>
                </c:pt>
                <c:pt idx="5">
                  <c:v>252.79991737107821</c:v>
                </c:pt>
                <c:pt idx="7">
                  <c:v>247.27332697879442</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4.8869786847520018</c:v>
                </c:pt>
                <c:pt idx="2">
                  <c:v>4.9713906894208568</c:v>
                </c:pt>
                <c:pt idx="3">
                  <c:v>4.9713906894208568</c:v>
                </c:pt>
                <c:pt idx="4">
                  <c:v>5.1253012959546727</c:v>
                </c:pt>
                <c:pt idx="6">
                  <c:v>5.1253012959546735</c:v>
                </c:pt>
                <c:pt idx="7">
                  <c:v>5.1346095591664476</c:v>
                </c:pt>
                <c:pt idx="8">
                  <c:v>5.1346095591664476</c:v>
                </c:pt>
                <c:pt idx="9">
                  <c:v>5.382141081576013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4.8286076847520016</c:v>
                </c:pt>
                <c:pt idx="5">
                  <c:v>5.0669302959546734</c:v>
                </c:pt>
                <c:pt idx="10">
                  <c:v>5.323770081576013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7111181568048188E-2</c:v>
                </c:pt>
                <c:pt idx="3">
                  <c:v>0.153910606533816</c:v>
                </c:pt>
                <c:pt idx="6">
                  <c:v>2.9115504257134234E-2</c:v>
                </c:pt>
                <c:pt idx="8">
                  <c:v>0.24753152240956566</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2.6991768991924299E-3</c:v>
                </c:pt>
                <c:pt idx="7">
                  <c:v>1.9807241045360115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5.8370999999999999E-2</c:v>
                </c:pt>
                <c:pt idx="5">
                  <c:v>5.8370999999999999E-2</c:v>
                </c:pt>
                <c:pt idx="10">
                  <c:v>5.8370999999999999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4.8869786847520018</c:v>
                </c:pt>
                <c:pt idx="5">
                  <c:v>5.1253012959546735</c:v>
                </c:pt>
                <c:pt idx="10">
                  <c:v>5.382141081576013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Opp. bebouwing kern *bodemfactor kern</c:v>
                </c:pt>
                <c:pt idx="3">
                  <c:v>Inwoners</c:v>
                </c:pt>
                <c:pt idx="4">
                  <c:v>Woonruimten * bodemfactor kern</c:v>
                </c:pt>
                <c:pt idx="5">
                  <c:v>Oppervlak bebouwing woonkernen</c:v>
                </c:pt>
                <c:pt idx="6">
                  <c:v>Bedrijfsvestigingen</c:v>
                </c:pt>
                <c:pt idx="7">
                  <c:v>Land</c:v>
                </c:pt>
                <c:pt idx="8">
                  <c:v>Land * bodemfactor gemeente</c:v>
                </c:pt>
                <c:pt idx="9">
                  <c:v>Opp. bebouwing totaal</c:v>
                </c:pt>
                <c:pt idx="10">
                  <c:v>Overig</c:v>
                </c:pt>
              </c:strCache>
            </c:strRef>
          </c:cat>
          <c:val>
            <c:numRef>
              <c:f>Sheet1!$B$2:$B$12</c:f>
              <c:numCache>
                <c:formatCode>General</c:formatCode>
                <c:ptCount val="11"/>
                <c:pt idx="0">
                  <c:v>0.94240189472000013</c:v>
                </c:pt>
                <c:pt idx="1">
                  <c:v>0.77315912925680008</c:v>
                </c:pt>
                <c:pt idx="2">
                  <c:v>0.68229532955999994</c:v>
                </c:pt>
                <c:pt idx="3">
                  <c:v>0.62594243711999997</c:v>
                </c:pt>
                <c:pt idx="4">
                  <c:v>0.54220151959999996</c:v>
                </c:pt>
                <c:pt idx="5">
                  <c:v>0.50461970624000008</c:v>
                </c:pt>
                <c:pt idx="6">
                  <c:v>0.26376282296000003</c:v>
                </c:pt>
                <c:pt idx="7">
                  <c:v>0.19478060368</c:v>
                </c:pt>
                <c:pt idx="8">
                  <c:v>0.17718662312</c:v>
                </c:pt>
                <c:pt idx="9">
                  <c:v>0.12463223136000001</c:v>
                </c:pt>
                <c:pt idx="10">
                  <c:v>0.49278778395921297</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5.8370999999999999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82589253549666408</c:v>
                </c:pt>
                <c:pt idx="1">
                  <c:v>-0.86497894028437305</c:v>
                </c:pt>
                <c:pt idx="2">
                  <c:v>-0.91213212938528687</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82589253549666408</c:v>
                </c:pt>
                <c:pt idx="1">
                  <c:v>-0.86497894028437305</c:v>
                </c:pt>
                <c:pt idx="2">
                  <c:v>-0.91213212938528687</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4.96433408817002</c:v>
                </c:pt>
                <c:pt idx="1">
                  <c:v>-36.354345407656581</c:v>
                </c:pt>
                <c:pt idx="2">
                  <c:v>-38.336154725561585</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4.96433408817002</c:v>
                </c:pt>
                <c:pt idx="1">
                  <c:v>-36.354345407656581</c:v>
                </c:pt>
                <c:pt idx="2">
                  <c:v>-38.336154725561585</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38.336154725561585</c:v>
                </c:pt>
                <c:pt idx="2">
                  <c:v>-35.25268230410888</c:v>
                </c:pt>
                <c:pt idx="3">
                  <c:v>-43.270271811605127</c:v>
                </c:pt>
                <c:pt idx="4">
                  <c:v>-38.293346342462172</c:v>
                </c:pt>
                <c:pt idx="5">
                  <c:v>-37.3147977704879</c:v>
                </c:pt>
                <c:pt idx="7">
                  <c:v>-38.532774557166022</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38.336154725561585</c:v>
                </c:pt>
                <c:pt idx="2">
                  <c:v>-35.25268230410888</c:v>
                </c:pt>
                <c:pt idx="3">
                  <c:v>-43.270271811605127</c:v>
                </c:pt>
                <c:pt idx="4">
                  <c:v>-38.293346342462172</c:v>
                </c:pt>
                <c:pt idx="5">
                  <c:v>-37.3147977704879</c:v>
                </c:pt>
                <c:pt idx="7">
                  <c:v>-38.532774557166022</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132.61250555037196</c:v>
                </c:pt>
                <c:pt idx="2">
                  <c:v>-119.70696553152091</c:v>
                </c:pt>
                <c:pt idx="3">
                  <c:v>-125.98305516275931</c:v>
                </c:pt>
                <c:pt idx="4">
                  <c:v>-124.55981944910585</c:v>
                </c:pt>
                <c:pt idx="5">
                  <c:v>-177.59349620289007</c:v>
                </c:pt>
                <c:pt idx="7">
                  <c:v>-136.96083408656904</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132.61250555037196</c:v>
                </c:pt>
                <c:pt idx="2">
                  <c:v>-119.70696553152091</c:v>
                </c:pt>
                <c:pt idx="3">
                  <c:v>-125.98305516275931</c:v>
                </c:pt>
                <c:pt idx="4">
                  <c:v>-124.55981944910585</c:v>
                </c:pt>
                <c:pt idx="5">
                  <c:v>-177.59349620289007</c:v>
                </c:pt>
                <c:pt idx="7">
                  <c:v>-136.96083408656904</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83865889315406006</c:v>
                </c:pt>
                <c:pt idx="2">
                  <c:v>-0.83865889315406006</c:v>
                </c:pt>
                <c:pt idx="3">
                  <c:v>-0.86497894028437305</c:v>
                </c:pt>
                <c:pt idx="4">
                  <c:v>-0.86497894028437305</c:v>
                </c:pt>
                <c:pt idx="6">
                  <c:v>-0.86971734162028824</c:v>
                </c:pt>
                <c:pt idx="7">
                  <c:v>-0.86971734162028824</c:v>
                </c:pt>
                <c:pt idx="8">
                  <c:v>-0.91213212938528687</c:v>
                </c:pt>
                <c:pt idx="9">
                  <c:v>-0.9121321293852868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82589253549666408</c:v>
                </c:pt>
                <c:pt idx="5">
                  <c:v>-0.86497894028437305</c:v>
                </c:pt>
                <c:pt idx="10">
                  <c:v>-0.91213212938528687</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2766357657395967E-2</c:v>
                </c:pt>
                <c:pt idx="3">
                  <c:v>2.632004713031301E-2</c:v>
                </c:pt>
                <c:pt idx="6">
                  <c:v>4.7384013359151583E-3</c:v>
                </c:pt>
                <c:pt idx="8">
                  <c:v>4.2414787764998664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82589253549666408</c:v>
                </c:pt>
                <c:pt idx="5">
                  <c:v>-0.86497894028437305</c:v>
                </c:pt>
                <c:pt idx="10">
                  <c:v>-0.91213212938528687</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Inwoners</c:v>
                </c:pt>
                <c:pt idx="3">
                  <c:v>Omgevingsadressendichtheid</c:v>
                </c:pt>
                <c:pt idx="4">
                  <c:v>Land</c:v>
                </c:pt>
                <c:pt idx="5">
                  <c:v>Land * bodemfactor gemeente</c:v>
                </c:pt>
                <c:pt idx="6">
                  <c:v>Oeverlengte *dichtheid *bodemf. gem.</c:v>
                </c:pt>
                <c:pt idx="7">
                  <c:v>Oeverlengte * bodemfactor gemeente</c:v>
                </c:pt>
                <c:pt idx="10">
                  <c:v>Overig</c:v>
                </c:pt>
              </c:strCache>
            </c:strRef>
          </c:cat>
          <c:val>
            <c:numRef>
              <c:f>Sheet1!$B$2:$B$12</c:f>
              <c:numCache>
                <c:formatCode>General</c:formatCode>
                <c:ptCount val="11"/>
                <c:pt idx="0">
                  <c:v>-1.07580201976</c:v>
                </c:pt>
                <c:pt idx="1">
                  <c:v>0.31435882816000005</c:v>
                </c:pt>
                <c:pt idx="2">
                  <c:v>-0.20979810852</c:v>
                </c:pt>
                <c:pt idx="3">
                  <c:v>5.9793612557120013E-2</c:v>
                </c:pt>
                <c:pt idx="4">
                  <c:v>-2.0572489080000003E-2</c:v>
                </c:pt>
                <c:pt idx="5">
                  <c:v>9.074060840000002E-3</c:v>
                </c:pt>
                <c:pt idx="6">
                  <c:v>7.9101134975933726E-3</c:v>
                </c:pt>
                <c:pt idx="7">
                  <c:v>2.9038729199999998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6463935097492</c:v>
                </c:pt>
                <c:pt idx="1">
                  <c:v>1.7239400756542798</c:v>
                </c:pt>
                <c:pt idx="2">
                  <c:v>1.81877735289744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6463935097492</c:v>
                </c:pt>
                <c:pt idx="1">
                  <c:v>1.7239400756542798</c:v>
                </c:pt>
                <c:pt idx="2">
                  <c:v>1.81877735289744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9.700415297794336</c:v>
                </c:pt>
                <c:pt idx="1">
                  <c:v>72.45576748011095</c:v>
                </c:pt>
                <c:pt idx="2">
                  <c:v>76.44169936104906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69.700415297794336</c:v>
                </c:pt>
                <c:pt idx="1">
                  <c:v>72.45576748011095</c:v>
                </c:pt>
                <c:pt idx="2">
                  <c:v>76.44169936104906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76.441699361049061</c:v>
                </c:pt>
                <c:pt idx="2">
                  <c:v>77.763897607393304</c:v>
                </c:pt>
                <c:pt idx="3">
                  <c:v>93.177306338458422</c:v>
                </c:pt>
                <c:pt idx="4">
                  <c:v>75.883820516050534</c:v>
                </c:pt>
                <c:pt idx="5">
                  <c:v>87.219723800321503</c:v>
                </c:pt>
                <c:pt idx="7">
                  <c:v>83.511187065555944</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76.441699361049061</c:v>
                </c:pt>
                <c:pt idx="2">
                  <c:v>77.763897607393304</c:v>
                </c:pt>
                <c:pt idx="3">
                  <c:v>93.177306338458422</c:v>
                </c:pt>
                <c:pt idx="4">
                  <c:v>75.883820516050534</c:v>
                </c:pt>
                <c:pt idx="5">
                  <c:v>87.219723800321503</c:v>
                </c:pt>
                <c:pt idx="7">
                  <c:v>83.511187065555944</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6463935097492</c:v>
                </c:pt>
                <c:pt idx="2">
                  <c:v>1.6714769724181777</c:v>
                </c:pt>
                <c:pt idx="3">
                  <c:v>1.6714769724181777</c:v>
                </c:pt>
                <c:pt idx="4">
                  <c:v>1.7239400756542798</c:v>
                </c:pt>
                <c:pt idx="6">
                  <c:v>1.7239400756542798</c:v>
                </c:pt>
                <c:pt idx="7">
                  <c:v>1.7342108095989239</c:v>
                </c:pt>
                <c:pt idx="8">
                  <c:v>1.7342108095989239</c:v>
                </c:pt>
                <c:pt idx="9">
                  <c:v>1.818777352897440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6463935097492</c:v>
                </c:pt>
                <c:pt idx="5">
                  <c:v>1.7239400756542798</c:v>
                </c:pt>
                <c:pt idx="10">
                  <c:v>1.81877735289744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5083462668977808E-2</c:v>
                </c:pt>
                <c:pt idx="3">
                  <c:v>5.2463103236101989E-2</c:v>
                </c:pt>
                <c:pt idx="6">
                  <c:v>1.0270733944644233E-2</c:v>
                </c:pt>
                <c:pt idx="8">
                  <c:v>8.4566543298516247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6463935097492</c:v>
                </c:pt>
                <c:pt idx="5">
                  <c:v>1.7239400756542798</c:v>
                </c:pt>
                <c:pt idx="10">
                  <c:v>1.818777352897440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Omgevingsadressendichtheid</c:v>
                </c:pt>
                <c:pt idx="2">
                  <c:v>Kernen met minstens 500 adressen</c:v>
                </c:pt>
                <c:pt idx="3">
                  <c:v>Woz waarde niet woningen (in mln)</c:v>
                </c:pt>
                <c:pt idx="4">
                  <c:v>Minderheden</c:v>
                </c:pt>
                <c:pt idx="5">
                  <c:v>Opp. bebouwing totaal</c:v>
                </c:pt>
                <c:pt idx="6">
                  <c:v>Huishoudens laag inkomen (drempel)</c:v>
                </c:pt>
                <c:pt idx="7">
                  <c:v>Land</c:v>
                </c:pt>
                <c:pt idx="8">
                  <c:v>Bedrijfsvestigingen</c:v>
                </c:pt>
                <c:pt idx="9">
                  <c:v>Klantenpotentieel lokaal</c:v>
                </c:pt>
                <c:pt idx="10">
                  <c:v>Overig</c:v>
                </c:pt>
              </c:strCache>
            </c:strRef>
          </c:cat>
          <c:val>
            <c:numRef>
              <c:f>Sheet1!$B$2:$B$12</c:f>
              <c:numCache>
                <c:formatCode>General</c:formatCode>
                <c:ptCount val="11"/>
                <c:pt idx="0">
                  <c:v>0.98928588303999998</c:v>
                </c:pt>
                <c:pt idx="1">
                  <c:v>0.26214153319744005</c:v>
                </c:pt>
                <c:pt idx="2">
                  <c:v>0.17899132160000003</c:v>
                </c:pt>
                <c:pt idx="3">
                  <c:v>0.14005638738000004</c:v>
                </c:pt>
                <c:pt idx="4">
                  <c:v>6.2447912800000005E-2</c:v>
                </c:pt>
                <c:pt idx="5">
                  <c:v>3.4707778560000006E-2</c:v>
                </c:pt>
                <c:pt idx="6">
                  <c:v>3.3475533519999996E-2</c:v>
                </c:pt>
                <c:pt idx="7">
                  <c:v>3.3179199560000004E-2</c:v>
                </c:pt>
                <c:pt idx="8">
                  <c:v>2.3917405200000002E-2</c:v>
                </c:pt>
                <c:pt idx="9">
                  <c:v>2.0920374800000006E-2</c:v>
                </c:pt>
                <c:pt idx="10">
                  <c:v>3.965402324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403896458365005</c:v>
                </c:pt>
                <c:pt idx="1">
                  <c:v>2.6541788697841002</c:v>
                </c:pt>
                <c:pt idx="2">
                  <c:v>2.78712422525680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7.7780000000000002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5403896458365005</c:v>
                </c:pt>
                <c:pt idx="1">
                  <c:v>2.6541788697841002</c:v>
                </c:pt>
                <c:pt idx="2">
                  <c:v>2.864904225256800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7.54792963195887</c:v>
                </c:pt>
                <c:pt idx="1">
                  <c:v>111.5529302645358</c:v>
                </c:pt>
                <c:pt idx="2">
                  <c:v>117.140512976791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3.26902870592190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7.54792963195887</c:v>
                </c:pt>
                <c:pt idx="1">
                  <c:v>111.5529302645358</c:v>
                </c:pt>
                <c:pt idx="2">
                  <c:v>120.4095416827134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3505477431827813</c:v>
                </c:pt>
                <c:pt idx="2">
                  <c:v>-3.3505477431827813</c:v>
                </c:pt>
                <c:pt idx="3">
                  <c:v>-3.3476534556800002</c:v>
                </c:pt>
                <c:pt idx="4">
                  <c:v>-3.3476534556800002</c:v>
                </c:pt>
                <c:pt idx="6">
                  <c:v>-3.3603297813255817</c:v>
                </c:pt>
                <c:pt idx="7">
                  <c:v>-3.3603297813255817</c:v>
                </c:pt>
                <c:pt idx="8">
                  <c:v>-3.1552493445599996</c:v>
                </c:pt>
                <c:pt idx="9">
                  <c:v>-3.155249344559999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2854224626000001</c:v>
                </c:pt>
                <c:pt idx="5">
                  <c:v>-3.3476534556799997</c:v>
                </c:pt>
                <c:pt idx="10">
                  <c:v>-3.155249344560000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2648328986107265E-2</c:v>
                </c:pt>
                <c:pt idx="7">
                  <c:v>0.8680176749180795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6.5125280582780998E-2</c:v>
                </c:pt>
                <c:pt idx="3">
                  <c:v>3.9754041483325835E-2</c:v>
                </c:pt>
                <c:pt idx="6">
                  <c:v>1.2676325645582149E-2</c:v>
                </c:pt>
                <c:pt idx="8">
                  <c:v>0.6629372381524977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2854224626000001</c:v>
                </c:pt>
                <c:pt idx="5">
                  <c:v>-3.3476534556799997</c:v>
                </c:pt>
                <c:pt idx="10">
                  <c:v>-3.15524934456000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C$2:$C$10</c:f>
              <c:numCache>
                <c:formatCode>General</c:formatCode>
                <c:ptCount val="9"/>
                <c:pt idx="0">
                  <c:v>117.1405129767915</c:v>
                </c:pt>
                <c:pt idx="2">
                  <c:v>116.3916869149735</c:v>
                </c:pt>
                <c:pt idx="3">
                  <c:v>121.01238283051946</c:v>
                </c:pt>
                <c:pt idx="4">
                  <c:v>115.68737606480211</c:v>
                </c:pt>
                <c:pt idx="5">
                  <c:v>121.79134399456132</c:v>
                </c:pt>
                <c:pt idx="7">
                  <c:v>118.72069745121409</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D$2:$D$10</c:f>
              <c:numCache>
                <c:formatCode>General</c:formatCode>
                <c:ptCount val="9"/>
                <c:pt idx="0">
                  <c:v>3.2690287059219099</c:v>
                </c:pt>
                <c:pt idx="2">
                  <c:v>3.273293493813652</c:v>
                </c:pt>
                <c:pt idx="3">
                  <c:v>3.2796424354865912</c:v>
                </c:pt>
                <c:pt idx="4">
                  <c:v>3.2960420374608019</c:v>
                </c:pt>
                <c:pt idx="5">
                  <c:v>3.2390788322991715</c:v>
                </c:pt>
                <c:pt idx="7">
                  <c:v>3.2720141997650543</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oirle</c:v>
                </c:pt>
                <c:pt idx="2">
                  <c:v>Wijk bij Duurstede</c:v>
                </c:pt>
                <c:pt idx="3">
                  <c:v>Maasgouw</c:v>
                </c:pt>
                <c:pt idx="4">
                  <c:v>Oldebroek</c:v>
                </c:pt>
                <c:pt idx="5">
                  <c:v>Wijdemeren</c:v>
                </c:pt>
                <c:pt idx="7">
                  <c:v>4 gemeenten</c:v>
                </c:pt>
                <c:pt idx="8">
                  <c:v>Landelijk</c:v>
                </c:pt>
              </c:strCache>
            </c:strRef>
          </c:cat>
          <c:val>
            <c:numRef>
              <c:f>Sheet1!$B$2:$B$10</c:f>
              <c:numCache>
                <c:formatCode>General</c:formatCode>
                <c:ptCount val="9"/>
                <c:pt idx="0">
                  <c:v>120.40954168271342</c:v>
                </c:pt>
                <c:pt idx="2">
                  <c:v>119.66498040878717</c:v>
                </c:pt>
                <c:pt idx="3">
                  <c:v>124.29202526600608</c:v>
                </c:pt>
                <c:pt idx="4">
                  <c:v>118.98341810226292</c:v>
                </c:pt>
                <c:pt idx="5">
                  <c:v>125.03042282686052</c:v>
                </c:pt>
                <c:pt idx="7">
                  <c:v>121.99271165097917</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2.5403896458365005</c:v>
                </c:pt>
                <c:pt idx="2">
                  <c:v>2.5629544727510232</c:v>
                </c:pt>
                <c:pt idx="3">
                  <c:v>2.5732610570003329</c:v>
                </c:pt>
                <c:pt idx="4">
                  <c:v>2.6541788697841002</c:v>
                </c:pt>
                <c:pt idx="6">
                  <c:v>2.6541788697841002</c:v>
                </c:pt>
                <c:pt idx="7">
                  <c:v>2.6574542643631771</c:v>
                </c:pt>
                <c:pt idx="8">
                  <c:v>2.6574542643631771</c:v>
                </c:pt>
                <c:pt idx="9">
                  <c:v>2.787124225256799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2.5403896458365005</c:v>
                </c:pt>
                <c:pt idx="5">
                  <c:v>2.6541788697841002</c:v>
                </c:pt>
                <c:pt idx="10">
                  <c:v>2.787124225256800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2.2564826914522638E-2</c:v>
                </c:pt>
                <c:pt idx="2">
                  <c:v>1.0306584249309894E-2</c:v>
                </c:pt>
                <c:pt idx="3">
                  <c:v>8.0917812783767182E-2</c:v>
                </c:pt>
                <c:pt idx="6">
                  <c:v>4.3738087403901501E-3</c:v>
                </c:pt>
                <c:pt idx="8">
                  <c:v>0.12966996089362287</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1.098414161312993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7.7780000000000002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7.7780000000000002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2.5403896458365005</c:v>
                </c:pt>
                <c:pt idx="5">
                  <c:v>2.6541788697841002</c:v>
                </c:pt>
                <c:pt idx="10">
                  <c:v>2.864904225256800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Woonruimten</c:v>
                </c:pt>
                <c:pt idx="2">
                  <c:v>Vast bedrag voor iedere gemeente</c:v>
                </c:pt>
                <c:pt idx="3">
                  <c:v>Omgevingsadressendichtheid</c:v>
                </c:pt>
                <c:pt idx="4">
                  <c:v>Bedrijfsvestigingen</c:v>
                </c:pt>
                <c:pt idx="5">
                  <c:v>Bewoonde oorden 1930</c:v>
                </c:pt>
                <c:pt idx="6">
                  <c:v>Klantenpotentieel regionaal</c:v>
                </c:pt>
                <c:pt idx="7">
                  <c:v>Minderheden</c:v>
                </c:pt>
                <c:pt idx="8">
                  <c:v>Land</c:v>
                </c:pt>
                <c:pt idx="9">
                  <c:v>Minderheden (drempel)</c:v>
                </c:pt>
                <c:pt idx="10">
                  <c:v>Overig</c:v>
                </c:pt>
              </c:strCache>
            </c:strRef>
          </c:cat>
          <c:val>
            <c:numRef>
              <c:f>Sheet1!$B$2:$B$12</c:f>
              <c:numCache>
                <c:formatCode>General</c:formatCode>
                <c:ptCount val="11"/>
                <c:pt idx="0">
                  <c:v>1.9572207454800004</c:v>
                </c:pt>
                <c:pt idx="1">
                  <c:v>0.5582230264000001</c:v>
                </c:pt>
                <c:pt idx="2">
                  <c:v>0.28248488112000003</c:v>
                </c:pt>
                <c:pt idx="3">
                  <c:v>-6.8307272623200008E-2</c:v>
                </c:pt>
                <c:pt idx="4">
                  <c:v>2.7316194360000001E-2</c:v>
                </c:pt>
                <c:pt idx="5">
                  <c:v>2.5048932480000004E-2</c:v>
                </c:pt>
                <c:pt idx="6">
                  <c:v>-2.4495952000000001E-2</c:v>
                </c:pt>
                <c:pt idx="7">
                  <c:v>2.2637638400000003E-2</c:v>
                </c:pt>
                <c:pt idx="8">
                  <c:v>6.9960316400000007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goeding raadsleden gemeenten</c:v>
                </c:pt>
                <c:pt idx="1">
                  <c:v>BRP straten</c:v>
                </c:pt>
              </c:strCache>
            </c:strRef>
          </c:cat>
          <c:val>
            <c:numRef>
              <c:f>Sheet1!$B$2:$B$12</c:f>
              <c:numCache>
                <c:formatCode>General</c:formatCode>
                <c:ptCount val="11"/>
                <c:pt idx="0">
                  <c:v>7.7780000000000002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OZB (niet-woningen eigenaar)</c:v>
                </c:pt>
                <c:pt idx="3">
                  <c:v>OZB (niet-woningen gebruiker)</c:v>
                </c:pt>
                <c:pt idx="4">
                  <c:v>Vast bedrag voor iedere gemeente</c:v>
                </c:pt>
                <c:pt idx="10">
                  <c:v>Overig</c:v>
                </c:pt>
              </c:strCache>
            </c:strRef>
          </c:cat>
          <c:val>
            <c:numRef>
              <c:f>Sheet1!$B$2:$B$12</c:f>
              <c:numCache>
                <c:formatCode>General</c:formatCode>
                <c:ptCount val="11"/>
                <c:pt idx="0">
                  <c:v>-2.1251447999999997</c:v>
                </c:pt>
                <c:pt idx="1">
                  <c:v>-0.45096325456000003</c:v>
                </c:pt>
                <c:pt idx="2">
                  <c:v>-0.32664061500000002</c:v>
                </c:pt>
                <c:pt idx="3">
                  <c:v>-0.30886425500000003</c:v>
                </c:pt>
                <c:pt idx="4">
                  <c:v>5.6363580000000003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8395840151858003</c:v>
                </c:pt>
                <c:pt idx="1">
                  <c:v>2.0206893244124813</c:v>
                </c:pt>
                <c:pt idx="2">
                  <c:v>2.089862946034240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8.054E-2</c:v>
                </c:pt>
                <c:pt idx="1">
                  <c:v>2.841081</c:v>
                </c:pt>
                <c:pt idx="2">
                  <c:v>2.8236189999999999</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201240151858003</c:v>
                </c:pt>
                <c:pt idx="1">
                  <c:v>4.8617703244124808</c:v>
                </c:pt>
                <c:pt idx="2">
                  <c:v>4.91348194603424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33.260268941725457</cx:pt>
          <cx:pt idx="1">-3.1552493445600001</cx:pt>
          <cx:pt idx="2">30.105019597165455</cx:pt>
          <cx:pt idx="3">5.0060139999999969</cx:pt>
          <cx:pt idx="4">35.11103359716545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6-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Goirle</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oirle is ca. 35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62544622"/>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oirle</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5,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5,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0,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2</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3,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oirle is ca. 35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255009752"/>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3548055189"/>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469730791"/>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oirle</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52933181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1,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Goirle is ca. 35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oirle</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512145023"/>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4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6,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3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7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5,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5,8</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Goirle ca. 1.476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oirle</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54276909"/>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Goirle</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47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2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147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oirle</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976059393"/>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52699759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66529132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 mind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51600733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0935014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125497503"/>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67700797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508623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241050277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19565404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3592817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5950509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48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7837940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78105902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7</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0126141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7479022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604229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127393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884811900"/>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66002835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59212152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00415732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124974634"/>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395167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29989272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896926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53109714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39622604"/>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6</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24880684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28742467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023465722"/>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68074807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862652898"/>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00891152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5.38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84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84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93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42836675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84185791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 / 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46270378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4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4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2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43625445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68345270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 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1,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eugdigen in gezinnen armoederisic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1490585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48816908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7</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58789435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73094039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6766325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94014025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507793463"/>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17284210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63315605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415261643"/>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10017119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ajong</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8,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72499999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815401322"/>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rogramma Sociaal domei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3100726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6383784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56143970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150901639"/>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5.385</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84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4.841</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25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9466871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79451576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38890500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4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4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56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241</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61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8.27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7679849"/>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70266063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S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3,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95837913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51218857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62632306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38181770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82240692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76590140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61936828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09194588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00228081"/>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94258453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4568411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421518463"/>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58165305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5142193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52230993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39517519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73001652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42053729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92202863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74612030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0762439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43277286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57665318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11568801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29097366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2248652910"/>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249984263"/>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1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48477062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93219169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 / 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4658602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82091362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36270291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5,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63670678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5239506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86808216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6440730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3306385027"/>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3345288985"/>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ind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62018929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59757379"/>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209714200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551592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13004343"/>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9</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0207814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68320193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63038321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3439137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7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19014745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95601708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8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81135630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Goirle,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1373460270"/>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5,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5,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155283453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65530920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787598236"/>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568119537"/>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17092372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85348701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969907373"/>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284355677"/>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23.621</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23.793</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 mind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42118700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45074460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38850587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9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6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71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3.59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4.01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5.089</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56416063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223294642"/>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woonde oorden 193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2,8</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6625945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79132087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RP strat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03333364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Goirle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866997192"/>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5,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5,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1,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5,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1,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5,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Goirle is ca. 35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oirle</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943798989"/>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7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33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7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55</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Goirle ca. 1.476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oirle</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2656325446"/>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Goirle</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23.793</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Wijk Bij Duurstede</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3.762</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Maasgouw</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3.716</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Oldebroek</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3.598</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Wijdemeren</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24.01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1567049751"/>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Goirle</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47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32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9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147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Goirle</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494776860"/>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3227035941"/>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6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79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79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Goirle,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7</TotalTime>
  <Words>9710</Words>
  <Application>Microsoft Office PowerPoint</Application>
  <PresentationFormat>Widescreen</PresentationFormat>
  <Paragraphs>2185</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Goirle is ca. 35 mln (1/3)</vt:lpstr>
      <vt:lpstr>Totale uitkering voor Goirle is ca. 35 mln (2/3)</vt:lpstr>
      <vt:lpstr>Totale uitkering voor Goirle is ca. 35 mln (3/3)</vt:lpstr>
      <vt:lpstr>Per inwoner ontvangt Goirle ca. 1.476 euro</vt:lpstr>
      <vt:lpstr>Dit is ca. 147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Goirle is ca. 35 mln</vt:lpstr>
      <vt:lpstr>Per inwoner ontvangt Goirle ca. 1.476 euro</vt:lpstr>
      <vt:lpstr>Dit is ca. €147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6T17:56:16Z</dcterms:modified>
</cp:coreProperties>
</file>